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8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271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5A5A5A"/>
    <a:srgbClr val="8D8D8D"/>
    <a:srgbClr val="C60018"/>
    <a:srgbClr val="444444"/>
    <a:srgbClr val="E5E5E5"/>
    <a:srgbClr val="A8A8A8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0" d="100"/>
          <a:sy n="150" d="100"/>
        </p:scale>
        <p:origin x="576" y="120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271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Weigel Stefan (PAR-EPS)" userId="fd3b2067-2981-4ad8-bf3a-d2e1004e4fa8" providerId="ADAL" clId="{9BAF6AE0-CA22-4CA8-87C5-C6D1CAC8831C}"/>
    <pc:docChg chg="modSld">
      <pc:chgData name="Weigel Stefan (PAR-EPS)" userId="fd3b2067-2981-4ad8-bf3a-d2e1004e4fa8" providerId="ADAL" clId="{9BAF6AE0-CA22-4CA8-87C5-C6D1CAC8831C}" dt="2024-02-16T10:54:02.263" v="9" actId="790"/>
      <pc:docMkLst>
        <pc:docMk/>
      </pc:docMkLst>
      <pc:sldChg chg="modSp mod">
        <pc:chgData name="Weigel Stefan (PAR-EPS)" userId="fd3b2067-2981-4ad8-bf3a-d2e1004e4fa8" providerId="ADAL" clId="{9BAF6AE0-CA22-4CA8-87C5-C6D1CAC8831C}" dt="2024-02-16T10:54:02.263" v="9" actId="790"/>
        <pc:sldMkLst>
          <pc:docMk/>
          <pc:sldMk cId="2820921500" sldId="408"/>
        </pc:sldMkLst>
        <pc:spChg chg="mod">
          <ac:chgData name="Weigel Stefan (PAR-EPS)" userId="fd3b2067-2981-4ad8-bf3a-d2e1004e4fa8" providerId="ADAL" clId="{9BAF6AE0-CA22-4CA8-87C5-C6D1CAC8831C}" dt="2024-02-16T10:54:02.263" v="9" actId="790"/>
          <ac:spMkLst>
            <pc:docMk/>
            <pc:sldMk cId="2820921500" sldId="408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AE727E4-6F43-44DC-80B3-36DB1D4310CD}"/>
    <pc:docChg chg="custSel addSld delSld modSld">
      <pc:chgData name="Meyer Raphael (PAR-ES)" userId="79615dfe-ed48-4e74-a40f-4f7b034c1c27" providerId="ADAL" clId="{6AE727E4-6F43-44DC-80B3-36DB1D4310CD}" dt="2022-03-03T13:44:37.218" v="37" actId="2890"/>
      <pc:docMkLst>
        <pc:docMk/>
      </pc:docMkLst>
      <pc:sldChg chg="addSp delSp modSp mod">
        <pc:chgData name="Meyer Raphael (PAR-ES)" userId="79615dfe-ed48-4e74-a40f-4f7b034c1c27" providerId="ADAL" clId="{6AE727E4-6F43-44DC-80B3-36DB1D4310CD}" dt="2022-03-03T13:43:39.923" v="33" actId="692"/>
        <pc:sldMkLst>
          <pc:docMk/>
          <pc:sldMk cId="3808035539" sldId="270"/>
        </pc:sldMkLst>
        <pc:spChg chg="del">
          <ac:chgData name="Meyer Raphael (PAR-ES)" userId="79615dfe-ed48-4e74-a40f-4f7b034c1c27" providerId="ADAL" clId="{6AE727E4-6F43-44DC-80B3-36DB1D4310CD}" dt="2022-03-03T13:37:54.951" v="8" actId="478"/>
          <ac:spMkLst>
            <pc:docMk/>
            <pc:sldMk cId="3808035539" sldId="270"/>
            <ac:spMk id="3" creationId="{00000000-0000-0000-0000-000000000000}"/>
          </ac:spMkLst>
        </pc:spChg>
        <pc:spChg chg="del">
          <ac:chgData name="Meyer Raphael (PAR-ES)" userId="79615dfe-ed48-4e74-a40f-4f7b034c1c27" providerId="ADAL" clId="{6AE727E4-6F43-44DC-80B3-36DB1D4310CD}" dt="2022-03-03T13:37:52.046" v="7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6AE727E4-6F43-44DC-80B3-36DB1D4310CD}" dt="2022-03-03T13:36:54.987" v="2"/>
          <ac:spMkLst>
            <pc:docMk/>
            <pc:sldMk cId="3808035539" sldId="270"/>
            <ac:spMk id="11" creationId="{C872468D-648C-44F5-8DF7-75B41720E3E9}"/>
          </ac:spMkLst>
        </pc:spChg>
        <pc:spChg chg="add mod">
          <ac:chgData name="Meyer Raphael (PAR-ES)" userId="79615dfe-ed48-4e74-a40f-4f7b034c1c27" providerId="ADAL" clId="{6AE727E4-6F43-44DC-80B3-36DB1D4310CD}" dt="2022-03-03T13:37:39.851" v="6" actId="20577"/>
          <ac:spMkLst>
            <pc:docMk/>
            <pc:sldMk cId="3808035539" sldId="270"/>
            <ac:spMk id="12" creationId="{5951AA1F-1F78-4199-A377-9885C86C21AF}"/>
          </ac:spMkLst>
        </pc:spChg>
        <pc:spChg chg="add mod">
          <ac:chgData name="Meyer Raphael (PAR-ES)" userId="79615dfe-ed48-4e74-a40f-4f7b034c1c27" providerId="ADAL" clId="{6AE727E4-6F43-44DC-80B3-36DB1D4310CD}" dt="2022-03-03T13:39:32.361" v="15"/>
          <ac:spMkLst>
            <pc:docMk/>
            <pc:sldMk cId="3808035539" sldId="270"/>
            <ac:spMk id="13" creationId="{529F12DD-D362-4327-A51F-7014752CAD03}"/>
          </ac:spMkLst>
        </pc:spChg>
        <pc:graphicFrameChg chg="mod">
          <ac:chgData name="Meyer Raphael (PAR-ES)" userId="79615dfe-ed48-4e74-a40f-4f7b034c1c27" providerId="ADAL" clId="{6AE727E4-6F43-44DC-80B3-36DB1D4310CD}" dt="2022-03-03T13:43:39.923" v="33" actId="692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del">
          <ac:chgData name="Meyer Raphael (PAR-ES)" userId="79615dfe-ed48-4e74-a40f-4f7b034c1c27" providerId="ADAL" clId="{6AE727E4-6F43-44DC-80B3-36DB1D4310CD}" dt="2022-03-03T13:39:44.942" v="16" actId="478"/>
          <ac:cxnSpMkLst>
            <pc:docMk/>
            <pc:sldMk cId="3808035539" sldId="270"/>
            <ac:cxnSpMk id="6" creationId="{00000000-0000-0000-0000-000000000000}"/>
          </ac:cxnSpMkLst>
        </pc:cxnChg>
        <pc:cxnChg chg="del">
          <ac:chgData name="Meyer Raphael (PAR-ES)" userId="79615dfe-ed48-4e74-a40f-4f7b034c1c27" providerId="ADAL" clId="{6AE727E4-6F43-44DC-80B3-36DB1D4310CD}" dt="2022-03-03T13:40:44.423" v="28" actId="478"/>
          <ac:cxnSpMkLst>
            <pc:docMk/>
            <pc:sldMk cId="3808035539" sldId="270"/>
            <ac:cxnSpMk id="8" creationId="{11B600A0-14BD-4B20-9F81-BA2BC862A1DB}"/>
          </ac:cxnSpMkLst>
        </pc:cxnChg>
      </pc:sldChg>
      <pc:sldChg chg="add">
        <pc:chgData name="Meyer Raphael (PAR-ES)" userId="79615dfe-ed48-4e74-a40f-4f7b034c1c27" providerId="ADAL" clId="{6AE727E4-6F43-44DC-80B3-36DB1D4310CD}" dt="2022-03-03T13:44:34.313" v="35" actId="2890"/>
        <pc:sldMkLst>
          <pc:docMk/>
          <pc:sldMk cId="421447817" sldId="271"/>
        </pc:sldMkLst>
      </pc:sldChg>
      <pc:sldChg chg="add">
        <pc:chgData name="Meyer Raphael (PAR-ES)" userId="79615dfe-ed48-4e74-a40f-4f7b034c1c27" providerId="ADAL" clId="{6AE727E4-6F43-44DC-80B3-36DB1D4310CD}" dt="2022-03-03T13:44:36.416" v="36" actId="2890"/>
        <pc:sldMkLst>
          <pc:docMk/>
          <pc:sldMk cId="1823063743" sldId="272"/>
        </pc:sldMkLst>
      </pc:sldChg>
      <pc:sldChg chg="add">
        <pc:chgData name="Meyer Raphael (PAR-ES)" userId="79615dfe-ed48-4e74-a40f-4f7b034c1c27" providerId="ADAL" clId="{6AE727E4-6F43-44DC-80B3-36DB1D4310CD}" dt="2022-03-03T13:44:37.218" v="37" actId="2890"/>
        <pc:sldMkLst>
          <pc:docMk/>
          <pc:sldMk cId="3044751883" sldId="273"/>
        </pc:sldMkLst>
      </pc:sldChg>
      <pc:sldChg chg="del">
        <pc:chgData name="Meyer Raphael (PAR-ES)" userId="79615dfe-ed48-4e74-a40f-4f7b034c1c27" providerId="ADAL" clId="{6AE727E4-6F43-44DC-80B3-36DB1D4310CD}" dt="2022-03-03T13:44:22.569" v="34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4FAD5D3-FB33-4007-98A7-71F9682AE523}"/>
    <pc:docChg chg="delSld">
      <pc:chgData name="Meyer Raphael (PAR-ES)" userId="79615dfe-ed48-4e74-a40f-4f7b034c1c27" providerId="ADAL" clId="{64FAD5D3-FB33-4007-98A7-71F9682AE523}" dt="2022-03-03T14:27:47.322" v="0" actId="47"/>
      <pc:docMkLst>
        <pc:docMk/>
      </pc:docMkLst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2168600751" sldId="409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1409086300" sldId="410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589059623" sldId="411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F62F3E69-D638-4F8A-BAB4-2FB5C3CCF3FC}"/>
    <pc:docChg chg="modSld">
      <pc:chgData name="Meyer Raphael (PAR-ES)" userId="79615dfe-ed48-4e74-a40f-4f7b034c1c27" providerId="ADAL" clId="{F62F3E69-D638-4F8A-BAB4-2FB5C3CCF3FC}" dt="2023-03-08T08:22:57.955" v="13" actId="27918"/>
      <pc:docMkLst>
        <pc:docMk/>
      </pc:docMkLst>
      <pc:sldChg chg="mod">
        <pc:chgData name="Meyer Raphael (PAR-ES)" userId="79615dfe-ed48-4e74-a40f-4f7b034c1c27" providerId="ADAL" clId="{F62F3E69-D638-4F8A-BAB4-2FB5C3CCF3FC}" dt="2023-03-08T08:22:57.955" v="13" actId="27918"/>
        <pc:sldMkLst>
          <pc:docMk/>
          <pc:sldMk cId="2820921500" sldId="408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2AEED41-E137-44EA-8934-B896B264C2ED}"/>
    <pc:docChg chg="custSel addSld delSld modSld sldOrd">
      <pc:chgData name="Meyer Raphael (PAR-ES)" userId="79615dfe-ed48-4e74-a40f-4f7b034c1c27" providerId="ADAL" clId="{12AEED41-E137-44EA-8934-B896B264C2ED}" dt="2022-03-03T14:15:40.014" v="50"/>
      <pc:docMkLst>
        <pc:docMk/>
      </pc:docMkLst>
      <pc:sldChg chg="del">
        <pc:chgData name="Meyer Raphael (PAR-ES)" userId="79615dfe-ed48-4e74-a40f-4f7b034c1c27" providerId="ADAL" clId="{12AEED41-E137-44EA-8934-B896B264C2ED}" dt="2022-03-03T14:09:16.096" v="1" actId="47"/>
        <pc:sldMkLst>
          <pc:docMk/>
          <pc:sldMk cId="3808035539" sldId="270"/>
        </pc:sldMkLst>
      </pc:sldChg>
      <pc:sldChg chg="modSp">
        <pc:chgData name="Meyer Raphael (PAR-ES)" userId="79615dfe-ed48-4e74-a40f-4f7b034c1c27" providerId="ADAL" clId="{12AEED41-E137-44EA-8934-B896B264C2ED}" dt="2022-03-03T14:08:34.089" v="0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12AEED41-E137-44EA-8934-B896B264C2ED}" dt="2022-03-03T14:08:34.089" v="0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3:34.648" v="35"/>
        <pc:sldMkLst>
          <pc:docMk/>
          <pc:sldMk cId="2168600751" sldId="409"/>
        </pc:sldMkLst>
        <pc:spChg chg="mod">
          <ac:chgData name="Meyer Raphael (PAR-ES)" userId="79615dfe-ed48-4e74-a40f-4f7b034c1c27" providerId="ADAL" clId="{12AEED41-E137-44EA-8934-B896B264C2ED}" dt="2022-03-03T14:12:44.569" v="20"/>
          <ac:spMkLst>
            <pc:docMk/>
            <pc:sldMk cId="2168600751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2:50.797" v="26" actId="20577"/>
          <ac:spMkLst>
            <pc:docMk/>
            <pc:sldMk cId="2168600751" sldId="409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3:34.648" v="35"/>
          <ac:graphicFrameMkLst>
            <pc:docMk/>
            <pc:sldMk cId="2168600751" sldId="409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5:40.014" v="50"/>
        <pc:sldMkLst>
          <pc:docMk/>
          <pc:sldMk cId="1409086300" sldId="410"/>
        </pc:sldMkLst>
        <pc:spChg chg="mod">
          <ac:chgData name="Meyer Raphael (PAR-ES)" userId="79615dfe-ed48-4e74-a40f-4f7b034c1c27" providerId="ADAL" clId="{12AEED41-E137-44EA-8934-B896B264C2ED}" dt="2022-03-03T14:14:35.159" v="41"/>
          <ac:spMkLst>
            <pc:docMk/>
            <pc:sldMk cId="140908630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4:11.923" v="40" actId="20577"/>
          <ac:spMkLst>
            <pc:docMk/>
            <pc:sldMk cId="1409086300" sldId="410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5:40.014" v="50"/>
          <ac:graphicFrameMkLst>
            <pc:docMk/>
            <pc:sldMk cId="1409086300" sldId="410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12AEED41-E137-44EA-8934-B896B264C2ED}" dt="2022-03-03T14:11:59.515" v="19"/>
        <pc:sldMkLst>
          <pc:docMk/>
          <pc:sldMk cId="589059623" sldId="411"/>
        </pc:sldMkLst>
        <pc:spChg chg="mod">
          <ac:chgData name="Meyer Raphael (PAR-ES)" userId="79615dfe-ed48-4e74-a40f-4f7b034c1c27" providerId="ADAL" clId="{12AEED41-E137-44EA-8934-B896B264C2ED}" dt="2022-03-03T14:09:58.172" v="6" actId="6549"/>
          <ac:spMkLst>
            <pc:docMk/>
            <pc:sldMk cId="589059623" sldId="411"/>
            <ac:spMk id="2" creationId="{00000000-0000-0000-0000-000000000000}"/>
          </ac:spMkLst>
        </pc:spChg>
        <pc:graphicFrameChg chg="mod">
          <ac:chgData name="Meyer Raphael (PAR-ES)" userId="79615dfe-ed48-4e74-a40f-4f7b034c1c27" providerId="ADAL" clId="{12AEED41-E137-44EA-8934-B896B264C2ED}" dt="2022-03-03T14:11:59.515" v="19"/>
          <ac:graphicFrameMkLst>
            <pc:docMk/>
            <pc:sldMk cId="589059623" sldId="41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5AEFCCC8-328D-40A6-804A-370FCBB7F8C4}"/>
    <pc:docChg chg="modSld">
      <pc:chgData name="Meyer Raphael (PAR-ES)" userId="79615dfe-ed48-4e74-a40f-4f7b034c1c27" providerId="ADAL" clId="{5AEFCCC8-328D-40A6-804A-370FCBB7F8C4}" dt="2022-03-09T16:27:49.507" v="0" actId="692"/>
      <pc:docMkLst>
        <pc:docMk/>
      </pc:docMkLst>
      <pc:sldChg chg="modSp">
        <pc:chgData name="Meyer Raphael (PAR-ES)" userId="79615dfe-ed48-4e74-a40f-4f7b034c1c27" providerId="ADAL" clId="{5AEFCCC8-328D-40A6-804A-370FCBB7F8C4}" dt="2022-03-09T16:27:49.507" v="0" actId="692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5AEFCCC8-328D-40A6-804A-370FCBB7F8C4}" dt="2022-03-09T16:27:49.507" v="0" actId="692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Weigel Stefan (PAR-EPS)" userId="fd3b2067-2981-4ad8-bf3a-d2e1004e4fa8" providerId="ADAL" clId="{F3BE5902-E8F4-44A5-BB8B-A91043809E6E}"/>
    <pc:docChg chg="modSld">
      <pc:chgData name="Weigel Stefan (PAR-EPS)" userId="fd3b2067-2981-4ad8-bf3a-d2e1004e4fa8" providerId="ADAL" clId="{F3BE5902-E8F4-44A5-BB8B-A91043809E6E}" dt="2024-04-22T09:18:05.356" v="39" actId="1036"/>
      <pc:docMkLst>
        <pc:docMk/>
      </pc:docMkLst>
      <pc:sldChg chg="modSp mod setBg">
        <pc:chgData name="Weigel Stefan (PAR-EPS)" userId="fd3b2067-2981-4ad8-bf3a-d2e1004e4fa8" providerId="ADAL" clId="{F3BE5902-E8F4-44A5-BB8B-A91043809E6E}" dt="2024-04-22T09:18:05.356" v="39" actId="1036"/>
        <pc:sldMkLst>
          <pc:docMk/>
          <pc:sldMk cId="2820921500" sldId="408"/>
        </pc:sldMkLst>
        <pc:spChg chg="mod">
          <ac:chgData name="Weigel Stefan (PAR-EPS)" userId="fd3b2067-2981-4ad8-bf3a-d2e1004e4fa8" providerId="ADAL" clId="{F3BE5902-E8F4-44A5-BB8B-A91043809E6E}" dt="2024-04-22T09:18:05.356" v="39" actId="1036"/>
          <ac:spMkLst>
            <pc:docMk/>
            <pc:sldMk cId="2820921500" sldId="408"/>
            <ac:spMk id="7" creationId="{586F29B4-427F-4C02-96A8-38F75F539446}"/>
          </ac:spMkLst>
        </pc:spChg>
        <pc:graphicFrameChg chg="mod">
          <ac:chgData name="Weigel Stefan (PAR-EPS)" userId="fd3b2067-2981-4ad8-bf3a-d2e1004e4fa8" providerId="ADAL" clId="{F3BE5902-E8F4-44A5-BB8B-A91043809E6E}" dt="2024-04-22T09:17:54.081" v="15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41A5B2EA-2907-4898-8BAD-7161CA34B4C3}"/>
    <pc:docChg chg="undo custSel modSld">
      <pc:chgData name="Meyer Raphael (PAR-ES)" userId="79615dfe-ed48-4e74-a40f-4f7b034c1c27" providerId="ADAL" clId="{41A5B2EA-2907-4898-8BAD-7161CA34B4C3}" dt="2022-03-03T13:54:34.303" v="122" actId="20577"/>
      <pc:docMkLst>
        <pc:docMk/>
      </pc:docMkLst>
      <pc:sldChg chg="modSp mod">
        <pc:chgData name="Meyer Raphael (PAR-ES)" userId="79615dfe-ed48-4e74-a40f-4f7b034c1c27" providerId="ADAL" clId="{41A5B2EA-2907-4898-8BAD-7161CA34B4C3}" dt="2022-03-03T13:51:34.741" v="61"/>
        <pc:sldMkLst>
          <pc:docMk/>
          <pc:sldMk cId="421447817" sldId="271"/>
        </pc:sldMkLst>
        <pc:spChg chg="mod">
          <ac:chgData name="Meyer Raphael (PAR-ES)" userId="79615dfe-ed48-4e74-a40f-4f7b034c1c27" providerId="ADAL" clId="{41A5B2EA-2907-4898-8BAD-7161CA34B4C3}" dt="2022-03-03T13:51:34.741" v="61"/>
          <ac:spMkLst>
            <pc:docMk/>
            <pc:sldMk cId="421447817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1:33.039" v="58" actId="1036"/>
          <ac:spMkLst>
            <pc:docMk/>
            <pc:sldMk cId="421447817" sldId="271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48:37.964" v="17" actId="20577"/>
          <ac:spMkLst>
            <pc:docMk/>
            <pc:sldMk cId="421447817" sldId="271"/>
            <ac:spMk id="12" creationId="{5951AA1F-1F78-4199-A377-9885C86C21AF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2:57.702" v="104" actId="20577"/>
        <pc:sldMkLst>
          <pc:docMk/>
          <pc:sldMk cId="1823063743" sldId="272"/>
        </pc:sldMkLst>
        <pc:spChg chg="mod">
          <ac:chgData name="Meyer Raphael (PAR-ES)" userId="79615dfe-ed48-4e74-a40f-4f7b034c1c27" providerId="ADAL" clId="{41A5B2EA-2907-4898-8BAD-7161CA34B4C3}" dt="2022-03-03T13:51:50.163" v="66" actId="20577"/>
          <ac:spMkLst>
            <pc:docMk/>
            <pc:sldMk cId="1823063743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2:24.458" v="90" actId="14100"/>
          <ac:spMkLst>
            <pc:docMk/>
            <pc:sldMk cId="1823063743" sldId="272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2:52.795" v="98" actId="20577"/>
          <ac:spMkLst>
            <pc:docMk/>
            <pc:sldMk cId="1823063743" sldId="272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2:57.702" v="104" actId="20577"/>
          <ac:spMkLst>
            <pc:docMk/>
            <pc:sldMk cId="1823063743" sldId="272"/>
            <ac:spMk id="13" creationId="{529F12DD-D362-4327-A51F-7014752CAD03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4:34.303" v="122" actId="20577"/>
        <pc:sldMkLst>
          <pc:docMk/>
          <pc:sldMk cId="3044751883" sldId="273"/>
        </pc:sldMkLst>
        <pc:spChg chg="mod">
          <ac:chgData name="Meyer Raphael (PAR-ES)" userId="79615dfe-ed48-4e74-a40f-4f7b034c1c27" providerId="ADAL" clId="{41A5B2EA-2907-4898-8BAD-7161CA34B4C3}" dt="2022-03-03T13:53:58.616" v="109" actId="20577"/>
          <ac:spMkLst>
            <pc:docMk/>
            <pc:sldMk cId="3044751883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4:11.854" v="110"/>
          <ac:spMkLst>
            <pc:docMk/>
            <pc:sldMk cId="3044751883" sldId="273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4:25.352" v="116" actId="20577"/>
          <ac:spMkLst>
            <pc:docMk/>
            <pc:sldMk cId="3044751883" sldId="273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4:34.303" v="122" actId="20577"/>
          <ac:spMkLst>
            <pc:docMk/>
            <pc:sldMk cId="3044751883" sldId="273"/>
            <ac:spMk id="13" creationId="{529F12DD-D362-4327-A51F-7014752CAD03}"/>
          </ac:spMkLst>
        </pc:sp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C1AF9310-36A8-456C-89D4-051DE09B39F8}"/>
    <pc:docChg chg="modSld">
      <pc:chgData name="Weigel Stefan (PAR-EPS)" userId="fd3b2067-2981-4ad8-bf3a-d2e1004e4fa8" providerId="ADAL" clId="{C1AF9310-36A8-456C-89D4-051DE09B39F8}" dt="2024-02-16T10:50:06.283" v="31" actId="27918"/>
      <pc:docMkLst>
        <pc:docMk/>
      </pc:docMkLst>
      <pc:sldChg chg="mod">
        <pc:chgData name="Weigel Stefan (PAR-EPS)" userId="fd3b2067-2981-4ad8-bf3a-d2e1004e4fa8" providerId="ADAL" clId="{C1AF9310-36A8-456C-89D4-051DE09B39F8}" dt="2024-02-16T10:50:06.283" v="31" actId="27918"/>
        <pc:sldMkLst>
          <pc:docMk/>
          <pc:sldMk cId="2820921500" sldId="40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59F3F2DD-0AA0-41E9-9702-E67125B6C64F}"/>
    <pc:docChg chg="delSld">
      <pc:chgData name="Meyer Raphael (PAR-ES)" userId="79615dfe-ed48-4e74-a40f-4f7b034c1c27" providerId="ADAL" clId="{59F3F2DD-0AA0-41E9-9702-E67125B6C64F}" dt="2022-03-03T14:01:24.929" v="0" actId="47"/>
      <pc:docMkLst>
        <pc:docMk/>
      </pc:docMkLst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421447817" sldId="271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1823063743" sldId="272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3044751883" sldId="273"/>
        </pc:sldMkLst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67619279552746E-2"/>
          <c:y val="9.1437582252467786E-2"/>
          <c:w val="0.90209275535455247"/>
          <c:h val="0.65600648848332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Parois et buttes antibruit (longueur de construction en km)</c:v>
                </c:pt>
              </c:strCache>
            </c:strRef>
          </c:tx>
          <c:spPr>
            <a:solidFill>
              <a:srgbClr val="D9D9D9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A-8CC7-4B04-ACDA-F600E151D821}"/>
              </c:ext>
            </c:extLst>
          </c:dPt>
          <c:dPt>
            <c:idx val="1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9-8CC7-4B04-ACDA-F600E151D821}"/>
              </c:ext>
            </c:extLst>
          </c:dPt>
          <c:dPt>
            <c:idx val="2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8-8CC7-4B04-ACDA-F600E151D821}"/>
              </c:ext>
            </c:extLst>
          </c:dPt>
          <c:dPt>
            <c:idx val="3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7-8CC7-4B04-ACDA-F600E151D821}"/>
              </c:ext>
            </c:extLst>
          </c:dPt>
          <c:dPt>
            <c:idx val="4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6-8CC7-4B04-ACDA-F600E151D821}"/>
              </c:ext>
            </c:extLst>
          </c:dPt>
          <c:dPt>
            <c:idx val="5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5-8CC7-4B04-ACDA-F600E151D821}"/>
              </c:ext>
            </c:extLst>
          </c:dPt>
          <c:dPt>
            <c:idx val="6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4-8CC7-4B04-ACDA-F600E151D821}"/>
              </c:ext>
            </c:extLst>
          </c:dPt>
          <c:dPt>
            <c:idx val="7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3-8CC7-4B04-ACDA-F600E151D821}"/>
              </c:ext>
            </c:extLst>
          </c:dPt>
          <c:dPt>
            <c:idx val="8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2-8CC7-4B04-ACDA-F600E151D821}"/>
              </c:ext>
            </c:extLst>
          </c:dPt>
          <c:dPt>
            <c:idx val="9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1-8CC7-4B04-ACDA-F600E151D821}"/>
              </c:ext>
            </c:extLst>
          </c:dPt>
          <c:dPt>
            <c:idx val="10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1-F8BF-496B-ACD5-9C04F0408BD4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321.21557209999997</c:v>
                </c:pt>
                <c:pt idx="1">
                  <c:v>345.35845210000002</c:v>
                </c:pt>
                <c:pt idx="2">
                  <c:v>368.13877209999998</c:v>
                </c:pt>
                <c:pt idx="3">
                  <c:v>383.05045860000001</c:v>
                </c:pt>
                <c:pt idx="4">
                  <c:v>390.82165859999998</c:v>
                </c:pt>
                <c:pt idx="5">
                  <c:v>402.5056586</c:v>
                </c:pt>
                <c:pt idx="6">
                  <c:v>403.75584859999998</c:v>
                </c:pt>
                <c:pt idx="7">
                  <c:v>412.27625444639398</c:v>
                </c:pt>
                <c:pt idx="8">
                  <c:v>416.74980696325702</c:v>
                </c:pt>
                <c:pt idx="9">
                  <c:v>421.91321236947499</c:v>
                </c:pt>
                <c:pt idx="10">
                  <c:v>425.017397511442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8BF-496B-ACD5-9C04F0408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65050624"/>
        <c:axId val="164956416"/>
      </c:barChart>
      <c:lineChart>
        <c:grouping val="standard"/>
        <c:varyColors val="0"/>
        <c:ser>
          <c:idx val="1"/>
          <c:order val="1"/>
          <c:tx>
            <c:strRef>
              <c:f>data!$D$8</c:f>
              <c:strCache>
                <c:ptCount val="1"/>
                <c:pt idx="0">
                  <c:v>Wagons de CFF Cargo SA équipés de freins antibruit (%)</c:v>
                </c:pt>
              </c:strCache>
            </c:strRef>
          </c:tx>
          <c:spPr>
            <a:ln>
              <a:solidFill>
                <a:srgbClr val="444444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D$9:$D$19</c:f>
              <c:numCache>
                <c:formatCode>#,##0.0</c:formatCode>
                <c:ptCount val="11"/>
                <c:pt idx="0">
                  <c:v>90.7201086956522</c:v>
                </c:pt>
                <c:pt idx="1">
                  <c:v>91.607981220657294</c:v>
                </c:pt>
                <c:pt idx="2">
                  <c:v>92.613812325797497</c:v>
                </c:pt>
                <c:pt idx="3">
                  <c:v>92.908876536971505</c:v>
                </c:pt>
                <c:pt idx="4">
                  <c:v>93.596059113300498</c:v>
                </c:pt>
                <c:pt idx="5">
                  <c:v>93.670172802404196</c:v>
                </c:pt>
                <c:pt idx="6">
                  <c:v>97.340214370782107</c:v>
                </c:pt>
                <c:pt idx="7">
                  <c:v>98.022199798183607</c:v>
                </c:pt>
                <c:pt idx="8">
                  <c:v>98.758295868122502</c:v>
                </c:pt>
                <c:pt idx="9">
                  <c:v>98.784458432819605</c:v>
                </c:pt>
                <c:pt idx="10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8BF-496B-ACD5-9C04F0408BD4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Matériel roulant de CFF Voyageurs équipé de freins antibruit (%)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E$9:$E$19</c:f>
              <c:numCache>
                <c:formatCode>#,##0.0</c:formatCode>
                <c:ptCount val="11"/>
                <c:pt idx="0">
                  <c:v>96.292209225336606</c:v>
                </c:pt>
                <c:pt idx="1">
                  <c:v>96.932377966860699</c:v>
                </c:pt>
                <c:pt idx="2">
                  <c:v>97.156819191470504</c:v>
                </c:pt>
                <c:pt idx="3">
                  <c:v>97.557184099489206</c:v>
                </c:pt>
                <c:pt idx="4">
                  <c:v>97.597204019222403</c:v>
                </c:pt>
                <c:pt idx="5">
                  <c:v>97.674418604651194</c:v>
                </c:pt>
                <c:pt idx="6">
                  <c:v>97.846153846153896</c:v>
                </c:pt>
                <c:pt idx="7">
                  <c:v>97.984344422700602</c:v>
                </c:pt>
                <c:pt idx="8">
                  <c:v>98.285936891312801</c:v>
                </c:pt>
                <c:pt idx="9">
                  <c:v>98.458574181117498</c:v>
                </c:pt>
                <c:pt idx="10">
                  <c:v>98.5537583254044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8BF-496B-ACD5-9C04F0408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9329280"/>
        <c:axId val="164954880"/>
      </c:lineChart>
      <c:catAx>
        <c:axId val="159329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64954880"/>
        <c:crosses val="autoZero"/>
        <c:auto val="1"/>
        <c:lblAlgn val="ctr"/>
        <c:lblOffset val="100"/>
        <c:noMultiLvlLbl val="0"/>
      </c:catAx>
      <c:valAx>
        <c:axId val="164954880"/>
        <c:scaling>
          <c:orientation val="minMax"/>
          <c:max val="100"/>
          <c:min val="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59329280"/>
        <c:crosses val="autoZero"/>
        <c:crossBetween val="between"/>
        <c:majorUnit val="20"/>
        <c:dispUnits>
          <c:builtInUnit val="hundreds"/>
        </c:dispUnits>
      </c:valAx>
      <c:valAx>
        <c:axId val="164956416"/>
        <c:scaling>
          <c:orientation val="minMax"/>
          <c:max val="500"/>
        </c:scaling>
        <c:delete val="0"/>
        <c:axPos val="r"/>
        <c:numFmt formatCode="#,##0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65050624"/>
        <c:crosses val="max"/>
        <c:crossBetween val="between"/>
        <c:majorUnit val="100"/>
      </c:valAx>
      <c:catAx>
        <c:axId val="1650506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416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"/>
          <c:y val="0.83453712526851842"/>
          <c:w val="0.59232821870397456"/>
          <c:h val="0.16266583430019896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666</cdr:x>
      <cdr:y>0</cdr:y>
    </cdr:from>
    <cdr:to>
      <cdr:x>1</cdr:x>
      <cdr:y>0.05035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909176" y="-1881188"/>
          <a:ext cx="307849" cy="20112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050" dirty="0"/>
            <a:t>km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5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DD1A60B-5654-418D-919D-139C4B10C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53" progId="TCLayout.ActiveDocument.1">
                  <p:embed/>
                </p:oleObj>
              </mc:Choice>
              <mc:Fallback>
                <p:oleObj name="think-cell Folie" r:id="rId4" imgW="352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DD1A60B-5654-418D-919D-139C4B10C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/>
              <a:t>Protection contre le bruit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897082181"/>
              </p:ext>
            </p:extLst>
          </p:nvPr>
        </p:nvGraphicFramePr>
        <p:xfrm>
          <a:off x="1487487" y="1881188"/>
          <a:ext cx="9217025" cy="4427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79650" y="6084295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586F29B4-427F-4C02-96A8-38F75F539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01997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820921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F639671-1A8E-4731-96A6-0088518DB9F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2f5c8543-cf23-4718-a3b8-32b0a91d511a"/>
    <ds:schemaRef ds:uri="96e82a89-ba48-4728-b345-cf206dbec8f1"/>
    <ds:schemaRef ds:uri="http://schemas.openxmlformats.org/package/2006/metadata/core-properties"/>
    <ds:schemaRef ds:uri="http://purl.org/dc/terms/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5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Protection contre le bruit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ection contre le bruit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4-05-03T12:16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